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autoCompressPictures="0">
  <p:sldMasterIdLst>
    <p:sldMasterId id="2147483699" r:id="rId4"/>
  </p:sldMasterIdLst>
  <p:notesMasterIdLst>
    <p:notesMasterId r:id="rId6"/>
  </p:notesMasterIdLst>
  <p:handoutMasterIdLst>
    <p:handoutMasterId r:id="rId7"/>
  </p:handoutMasterIdLst>
  <p:sldIdLst>
    <p:sldId id="347" r:id="rId5"/>
  </p:sldIdLst>
  <p:sldSz cx="9144000" cy="5143500" type="screen16x9"/>
  <p:notesSz cx="6797675" cy="9872663"/>
  <p:embeddedFontLst>
    <p:embeddedFont>
      <p:font typeface="Roboto" panose="020B0604020202020204" charset="0"/>
      <p:regular r:id="rId8"/>
      <p:bold r:id="rId9"/>
      <p:italic r:id="rId10"/>
      <p:boldItalic r:id="rId11"/>
    </p:embeddedFont>
  </p:embeddedFontLst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Вступ" id="{92FB0B50-2C88-4573-BB8F-5C2D2773CFE6}">
          <p14:sldIdLst>
            <p14:sldId id="347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2527">
          <p15:clr>
            <a:srgbClr val="A4A3A4"/>
          </p15:clr>
        </p15:guide>
        <p15:guide id="6" orient="horz" pos="2119">
          <p15:clr>
            <a:srgbClr val="A4A3A4"/>
          </p15:clr>
        </p15:guide>
        <p15:guide id="7" orient="horz" pos="2028">
          <p15:clr>
            <a:srgbClr val="A4A3A4"/>
          </p15:clr>
        </p15:guide>
        <p15:guide id="8" orient="horz" pos="486">
          <p15:clr>
            <a:srgbClr val="A4A3A4"/>
          </p15:clr>
        </p15:guide>
        <p15:guide id="9" orient="horz" pos="804">
          <p15:clr>
            <a:srgbClr val="A4A3A4"/>
          </p15:clr>
        </p15:guide>
        <p15:guide id="10" orient="horz" pos="123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620">
          <p15:clr>
            <a:srgbClr val="A4A3A4"/>
          </p15:clr>
        </p15:guide>
        <p15:guide id="13" orient="horz" pos="1529">
          <p15:clr>
            <a:srgbClr val="A4A3A4"/>
          </p15:clr>
        </p15:guide>
        <p15:guide id="14" orient="horz" pos="1030">
          <p15:clr>
            <a:srgbClr val="A4A3A4"/>
          </p15:clr>
        </p15:guide>
        <p15:guide id="15" orient="horz" pos="894">
          <p15:clr>
            <a:srgbClr val="A4A3A4"/>
          </p15:clr>
        </p15:guide>
        <p15:guide id="16" orient="horz" pos="2618">
          <p15:clr>
            <a:srgbClr val="A4A3A4"/>
          </p15:clr>
        </p15:guide>
        <p15:guide id="17" pos="4740">
          <p15:clr>
            <a:srgbClr val="A4A3A4"/>
          </p15:clr>
        </p15:guide>
        <p15:guide id="18" pos="2018">
          <p15:clr>
            <a:srgbClr val="A4A3A4"/>
          </p15:clr>
        </p15:guide>
        <p15:guide id="19" pos="1111">
          <p15:clr>
            <a:srgbClr val="A4A3A4"/>
          </p15:clr>
        </p15:guide>
        <p15:guide id="20" pos="204">
          <p15:clr>
            <a:srgbClr val="A4A3A4"/>
          </p15:clr>
        </p15:guide>
        <p15:guide id="21" pos="5556">
          <p15:clr>
            <a:srgbClr val="A4A3A4"/>
          </p15:clr>
        </p15:guide>
        <p15:guide id="22" pos="1927">
          <p15:clr>
            <a:srgbClr val="A4A3A4"/>
          </p15:clr>
        </p15:guide>
        <p15:guide id="23" pos="2835">
          <p15:clr>
            <a:srgbClr val="A4A3A4"/>
          </p15:clr>
        </p15:guide>
        <p15:guide id="24" pos="3833">
          <p15:clr>
            <a:srgbClr val="A4A3A4"/>
          </p15:clr>
        </p15:guide>
        <p15:guide id="25" pos="4649">
          <p15:clr>
            <a:srgbClr val="A4A3A4"/>
          </p15:clr>
        </p15:guide>
        <p15:guide id="26" pos="3742">
          <p15:clr>
            <a:srgbClr val="A4A3A4"/>
          </p15:clr>
        </p15:guide>
        <p15:guide id="27" pos="1020">
          <p15:clr>
            <a:srgbClr val="A4A3A4"/>
          </p15:clr>
        </p15:guide>
        <p15:guide id="28" pos="29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288" autoAdjust="0"/>
    <p:restoredTop sz="98171" autoAdjust="0"/>
  </p:normalViewPr>
  <p:slideViewPr>
    <p:cSldViewPr showGuides="1">
      <p:cViewPr>
        <p:scale>
          <a:sx n="110" d="100"/>
          <a:sy n="110" d="100"/>
        </p:scale>
        <p:origin x="-1656" y="-702"/>
      </p:cViewPr>
      <p:guideLst>
        <p:guide orient="horz" pos="2981"/>
        <p:guide orient="horz" pos="3026"/>
        <p:guide orient="horz" pos="3117"/>
        <p:guide orient="horz" pos="577"/>
        <p:guide orient="horz" pos="2527"/>
        <p:guide orient="horz" pos="2119"/>
        <p:guide orient="horz" pos="2028"/>
        <p:guide orient="horz" pos="486"/>
        <p:guide orient="horz" pos="804"/>
        <p:guide orient="horz" pos="123"/>
        <p:guide orient="horz" pos="1121"/>
        <p:guide orient="horz" pos="1620"/>
        <p:guide orient="horz" pos="1529"/>
        <p:guide orient="horz" pos="1030"/>
        <p:guide orient="horz" pos="894"/>
        <p:guide orient="horz" pos="2754"/>
        <p:guide pos="4740"/>
        <p:guide pos="2018"/>
        <p:guide pos="1111"/>
        <p:guide pos="204"/>
        <p:guide pos="5556"/>
        <p:guide pos="1927"/>
        <p:guide pos="2835"/>
        <p:guide pos="3833"/>
        <p:guide pos="4649"/>
        <p:guide pos="3742"/>
        <p:guide pos="1020"/>
        <p:guide pos="29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4768"/>
    </p:cViewPr>
  </p:sorterViewPr>
  <p:notesViewPr>
    <p:cSldViewPr showGuides="1">
      <p:cViewPr varScale="1">
        <p:scale>
          <a:sx n="81" d="100"/>
          <a:sy n="81" d="100"/>
        </p:scale>
        <p:origin x="3996" y="96"/>
      </p:cViewPr>
      <p:guideLst>
        <p:guide orient="horz" pos="5906"/>
        <p:guide orient="horz" pos="492"/>
        <p:guide pos="281"/>
        <p:guide pos="400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font" Target="fonts/font3.fntdata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349032956013251E-4"/>
          <c:y val="2.3004051369676915E-2"/>
          <c:w val="0.99946654918617628"/>
          <c:h val="0.9539918972606461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922428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5"/>
            <c:invertIfNegative val="0"/>
            <c:bubble3D val="0"/>
            <c:spPr>
              <a:solidFill>
                <a:srgbClr val="922428"/>
              </a:solidFill>
              <a:ln>
                <a:noFill/>
              </a:ln>
              <a:effectLst/>
            </c:spPr>
          </c:dPt>
          <c:dPt>
            <c:idx val="16"/>
            <c:invertIfNegative val="0"/>
            <c:bubble3D val="0"/>
            <c:spPr>
              <a:solidFill>
                <a:srgbClr val="922428"/>
              </a:solidFill>
              <a:ln>
                <a:noFill/>
              </a:ln>
              <a:effectLst/>
            </c:spPr>
          </c:dPt>
          <c:dPt>
            <c:idx val="17"/>
            <c:invertIfNegative val="0"/>
            <c:bubble3D val="0"/>
            <c:spPr>
              <a:solidFill>
                <a:srgbClr val="922428"/>
              </a:solidFill>
              <a:ln>
                <a:noFill/>
              </a:ln>
              <a:effectLst/>
            </c:spPr>
          </c:dPt>
          <c:dLbls>
            <c:numFmt formatCode="0.0%" sourceLinked="0"/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6</c:f>
              <c:strCache>
                <c:ptCount val="25"/>
                <c:pt idx="0">
                  <c:v>Слуга Народу (Дмитро Разумков, Руслан Стефанчук, Ірина Венедіктова)</c:v>
                </c:pt>
                <c:pt idx="1">
                  <c:v>Європейська Солідарність (Петро Порошенко, Андрій Парубій, Ірина Геращенко, Мустафа Джемілєв)</c:v>
                </c:pt>
                <c:pt idx="2">
                  <c:v>Опозиційна платформа — За життя (Юрій Бойко, Вадим Рабінович, Віктор Медведчук)</c:v>
                </c:pt>
                <c:pt idx="3">
                  <c:v>Голос (Святослав Вакарчук, Юлія Клименко, Кіра Рудик)</c:v>
                </c:pt>
                <c:pt idx="4">
                  <c:v>Всеукраїнське об’єднання "Батьківщина" (Юлія Тимошенко, Сергій Тарута, Валентин Наливайченко)</c:v>
                </c:pt>
                <c:pt idx="5">
                  <c:v>Сила і Честь (Ігор Смешко, Олена Сотник, Рефат Чубаров)</c:v>
                </c:pt>
                <c:pt idx="6">
                  <c:v>Всеукраїнське об’єднання "Свобода" (Олег Тягнибок, Андрій Білецький, Дмитро Ярош)</c:v>
                </c:pt>
                <c:pt idx="7">
                  <c:v>Опозиційний блок (Євгеній Мураєв, Олександр Вілкул, Геннадій Кернес, Геннадій Труханов)</c:v>
                </c:pt>
                <c:pt idx="8">
                  <c:v>Партія Шарія (Анатолій Шарій, Ольга Бондаренко, Антоніна Бєлоглазова)</c:v>
                </c:pt>
                <c:pt idx="9">
                  <c:v>Українська cтратегія  Гройсмана (Володимир Гройсман, Лілія Гриневич, Олександр Саєнко, Євген Нищук)</c:v>
                </c:pt>
                <c:pt idx="10">
                  <c:v>Радикальна партія Олега Ляшка (Олег Ляшко, Віктор Галасюк, Андрій Лозовой)</c:v>
                </c:pt>
                <c:pt idx="11">
                  <c:v>Об’єднання "Самопоміч" (Андрій Садовий, Ольга Квасніцька, Олександра Дрік, Оксана Сироїд)</c:v>
                </c:pt>
                <c:pt idx="12">
                  <c:v>Громадянська позиція (Анатолій Гриценко, Дмитро Добродомов, Микола Томенко)</c:v>
                </c:pt>
                <c:pt idx="13">
                  <c:v>Рух Нових Сил Михайла Саакашвілі (Міхеіл Саакашвілі, Давід Сакварелідзе, Олександр Доній)</c:v>
                </c:pt>
                <c:pt idx="14">
                  <c:v>Партія зелених України (Тетяна Бодун, Віталій Кононов, Сергій Луговик)</c:v>
                </c:pt>
                <c:pt idx="15">
                  <c:v>Сила права (Андрій Сенченко, Олександр Данилюк, Володимир Василенко)</c:v>
                </c:pt>
                <c:pt idx="16">
                  <c:v>Аграрна партія України (Михайло Поплавський, Ліля Бортич, Денис Марчук)</c:v>
                </c:pt>
                <c:pt idx="17">
                  <c:v>Патріот (Микола Голомша, Микола Сірий, Георгій Філіпчук, Іван Бобул)</c:v>
                </c:pt>
                <c:pt idx="18">
                  <c:v>Всеукраїнське об'єднання "Факел" (Тетяна Однорог, Олександр Крамар, Олександр Гончаров)</c:v>
                </c:pt>
                <c:pt idx="19">
                  <c:v>Соціальна справедливість (Алла Шлапак, Олександр Дічек, Сніжана Сорока)</c:v>
                </c:pt>
                <c:pt idx="20">
                  <c:v>Незалежність (Анатолій Могильов, Іван Ступак, Тетяна Зюбанова)</c:v>
                </c:pt>
                <c:pt idx="21">
                  <c:v>Сила людей (Олександр Солонтай, Світлана Сова, Остап Єднак)</c:v>
                </c:pt>
                <c:pt idx="22">
                  <c:v>Зіпсував би бюлетень</c:v>
                </c:pt>
                <c:pt idx="23">
                  <c:v>Не знаю</c:v>
                </c:pt>
                <c:pt idx="24">
                  <c:v>Не голосував би</c:v>
                </c:pt>
              </c:strCache>
            </c:strRef>
          </c:cat>
          <c:val>
            <c:numRef>
              <c:f>Sheet1!$B$2:$B$26</c:f>
              <c:numCache>
                <c:formatCode>0.0%</c:formatCode>
                <c:ptCount val="25"/>
                <c:pt idx="0">
                  <c:v>0.376</c:v>
                </c:pt>
                <c:pt idx="1">
                  <c:v>8.4000000000000005E-2</c:v>
                </c:pt>
                <c:pt idx="2">
                  <c:v>0.1</c:v>
                </c:pt>
                <c:pt idx="3">
                  <c:v>5.8999999999999997E-2</c:v>
                </c:pt>
                <c:pt idx="4">
                  <c:v>6.2E-2</c:v>
                </c:pt>
                <c:pt idx="5">
                  <c:v>4.1000000000000002E-2</c:v>
                </c:pt>
                <c:pt idx="6">
                  <c:v>0.02</c:v>
                </c:pt>
                <c:pt idx="7">
                  <c:v>1.9E-2</c:v>
                </c:pt>
                <c:pt idx="8">
                  <c:v>1.7000000000000001E-2</c:v>
                </c:pt>
                <c:pt idx="9">
                  <c:v>1.2E-2</c:v>
                </c:pt>
                <c:pt idx="10">
                  <c:v>2.5000000000000001E-2</c:v>
                </c:pt>
                <c:pt idx="11">
                  <c:v>8.9999999999999993E-3</c:v>
                </c:pt>
                <c:pt idx="12">
                  <c:v>1.7999999999999999E-2</c:v>
                </c:pt>
                <c:pt idx="13">
                  <c:v>2E-3</c:v>
                </c:pt>
                <c:pt idx="14">
                  <c:v>6.0000000000000001E-3</c:v>
                </c:pt>
                <c:pt idx="15">
                  <c:v>0</c:v>
                </c:pt>
                <c:pt idx="16">
                  <c:v>1E-3</c:v>
                </c:pt>
                <c:pt idx="17">
                  <c:v>3.0000000000000001E-3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1E-3</c:v>
                </c:pt>
                <c:pt idx="22">
                  <c:v>1.2E-2</c:v>
                </c:pt>
                <c:pt idx="23">
                  <c:v>5.7000000000000002E-2</c:v>
                </c:pt>
                <c:pt idx="24">
                  <c:v>4.80000000000000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9374336"/>
        <c:axId val="9412992"/>
      </c:barChart>
      <c:catAx>
        <c:axId val="9374336"/>
        <c:scaling>
          <c:orientation val="maxMin"/>
        </c:scaling>
        <c:delete val="1"/>
        <c:axPos val="l"/>
        <c:numFmt formatCode="s\t\a\nd\a\rd" sourceLinked="1"/>
        <c:majorTickMark val="none"/>
        <c:minorTickMark val="none"/>
        <c:tickLblPos val="nextTo"/>
        <c:crossAx val="9412992"/>
        <c:crosses val="autoZero"/>
        <c:auto val="1"/>
        <c:lblAlgn val="ctr"/>
        <c:lblOffset val="100"/>
        <c:noMultiLvlLbl val="0"/>
      </c:catAx>
      <c:valAx>
        <c:axId val="9412992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9374336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349032956013251E-4"/>
          <c:y val="2.3004051369676915E-2"/>
          <c:w val="0.99946654918617628"/>
          <c:h val="0.9539918972606461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396AB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5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6"/>
            <c:invertIfNegative val="0"/>
            <c:bubble3D val="0"/>
            <c:spPr>
              <a:solidFill>
                <a:sysClr val="window" lastClr="FFFFFF">
                  <a:lumMod val="75000"/>
                </a:sysClr>
              </a:solidFill>
              <a:ln>
                <a:noFill/>
              </a:ln>
              <a:effectLst/>
            </c:spPr>
          </c:dPt>
          <c:dPt>
            <c:idx val="17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</c:dPt>
          <c:dLbls>
            <c:numFmt formatCode="0.0%" sourceLinked="0"/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6</c:f>
              <c:strCache>
                <c:ptCount val="25"/>
                <c:pt idx="0">
                  <c:v>Слуга Народу (Дмитро Разумков, Руслан Стефанчук, Ірина Венедіктова)</c:v>
                </c:pt>
                <c:pt idx="1">
                  <c:v>Європейська Солідарність (Петро Порошенко, Андрій Парубій, Ірина Геращенко, Мустафа Джемілєв)</c:v>
                </c:pt>
                <c:pt idx="2">
                  <c:v>Опозиційна платформа — За життя (Юрій Бойко, Вадим Рабінович, Віктор Медведчук)</c:v>
                </c:pt>
                <c:pt idx="3">
                  <c:v>Голос (Святослав Вакарчук, Юлія Клименко, Кіра Рудик)</c:v>
                </c:pt>
                <c:pt idx="4">
                  <c:v>Всеукраїнське об’єднання "Батьківщина" (Юлія Тимошенко, Сергій Тарута, Валентин Наливайченко)</c:v>
                </c:pt>
                <c:pt idx="5">
                  <c:v>Сила і Честь (Ігор Смешко, Олена Сотник, Рефат Чубаров)</c:v>
                </c:pt>
                <c:pt idx="6">
                  <c:v>Всеукраїнське об’єднання "Свобода" (Олег Тягнибок, Андрій Білецький, Дмитро Ярош)</c:v>
                </c:pt>
                <c:pt idx="7">
                  <c:v>Опозиційний блок (Євгеній Мураєв, Олександр Вілкул, Геннадій Кернес, Геннадій Труханов)</c:v>
                </c:pt>
                <c:pt idx="8">
                  <c:v>Партія Шарія (Анатолій Шарій, Ольга Бондаренко, Антоніна Бєлоглазова)</c:v>
                </c:pt>
                <c:pt idx="9">
                  <c:v>Українська cтратегія  Гройсмана (Володимир Гройсман, Лілія Гриневич, Олександр Саєнко, Євген Нищук)</c:v>
                </c:pt>
                <c:pt idx="10">
                  <c:v>Радикальна партія Олега Ляшка (Олег Ляшко, Віктор Галасюк, Андрій Лозовой)</c:v>
                </c:pt>
                <c:pt idx="11">
                  <c:v>Об’єднання "Самопоміч" (Андрій Садовий, Ольга Квасніцька, Олександра Дрік, Оксана Сироїд)</c:v>
                </c:pt>
                <c:pt idx="12">
                  <c:v>Громадянська позиція (Анатолій Гриценко, Дмитро Добродомов, Микола Томенко)</c:v>
                </c:pt>
                <c:pt idx="13">
                  <c:v>Рух Нових Сил Михайла Саакашвілі (Міхеіл Саакашвілі, Давід Сакварелідзе, Олександр Доній)</c:v>
                </c:pt>
                <c:pt idx="14">
                  <c:v>Партія зелених України (Тетяна Бодун, Віталій Кононов, Сергій Луговик)</c:v>
                </c:pt>
                <c:pt idx="15">
                  <c:v>Сила права (Андрій Сенченко, Олександр Данилюк, Володимир Василенко)</c:v>
                </c:pt>
                <c:pt idx="16">
                  <c:v>Аграрна партія України (Михайло Поплавський, Ліля Бортич, Денис Марчук)</c:v>
                </c:pt>
                <c:pt idx="17">
                  <c:v>Патріот (Микола Голомша, Микола Сірий, Георгій Філіпчук, Іван Бобул)</c:v>
                </c:pt>
                <c:pt idx="18">
                  <c:v>Всеукраїнське об'єднання "Факел" (Тетяна Однорог, Олександр Крамар, Олександр Гончаров)</c:v>
                </c:pt>
                <c:pt idx="19">
                  <c:v>Соціальна справедливість (Алла Шлапак, Олександр Дічек, Сніжана Сорока)</c:v>
                </c:pt>
                <c:pt idx="20">
                  <c:v>Незалежність (Анатолій Могильов, Іван Ступак, Тетяна Зюбанова)</c:v>
                </c:pt>
                <c:pt idx="21">
                  <c:v>Сила людей (Олександр Солонтай, Світлана Сова, Остап Єднак)</c:v>
                </c:pt>
                <c:pt idx="22">
                  <c:v>Зіпсував би бюлетень</c:v>
                </c:pt>
                <c:pt idx="23">
                  <c:v>Не знаю</c:v>
                </c:pt>
                <c:pt idx="24">
                  <c:v>Не голосував би</c:v>
                </c:pt>
              </c:strCache>
            </c:strRef>
          </c:cat>
          <c:val>
            <c:numRef>
              <c:f>Sheet1!$B$2:$B$26</c:f>
              <c:numCache>
                <c:formatCode>0.0%</c:formatCode>
                <c:ptCount val="25"/>
                <c:pt idx="0">
                  <c:v>0.43099999999999999</c:v>
                </c:pt>
                <c:pt idx="1">
                  <c:v>0.106</c:v>
                </c:pt>
                <c:pt idx="2">
                  <c:v>7.5999999999999998E-2</c:v>
                </c:pt>
                <c:pt idx="3">
                  <c:v>7.5999999999999998E-2</c:v>
                </c:pt>
                <c:pt idx="4">
                  <c:v>7.2999999999999995E-2</c:v>
                </c:pt>
                <c:pt idx="5">
                  <c:v>4.4999999999999998E-2</c:v>
                </c:pt>
                <c:pt idx="6">
                  <c:v>2.7E-2</c:v>
                </c:pt>
                <c:pt idx="7">
                  <c:v>2.4E-2</c:v>
                </c:pt>
                <c:pt idx="8">
                  <c:v>1.7999999999999999E-2</c:v>
                </c:pt>
                <c:pt idx="9">
                  <c:v>1.7000000000000001E-2</c:v>
                </c:pt>
                <c:pt idx="10">
                  <c:v>1.4E-2</c:v>
                </c:pt>
                <c:pt idx="11">
                  <c:v>1.2999999999999999E-2</c:v>
                </c:pt>
                <c:pt idx="12">
                  <c:v>6.0000000000000001E-3</c:v>
                </c:pt>
                <c:pt idx="13">
                  <c:v>4.0000000000000001E-3</c:v>
                </c:pt>
                <c:pt idx="14">
                  <c:v>1E-3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1.2999999999999999E-2</c:v>
                </c:pt>
                <c:pt idx="23">
                  <c:v>4.100000000000000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36586624"/>
        <c:axId val="36588160"/>
      </c:barChart>
      <c:catAx>
        <c:axId val="36586624"/>
        <c:scaling>
          <c:orientation val="maxMin"/>
        </c:scaling>
        <c:delete val="1"/>
        <c:axPos val="l"/>
        <c:numFmt formatCode="s\t\a\nd\a\rd" sourceLinked="1"/>
        <c:majorTickMark val="none"/>
        <c:minorTickMark val="none"/>
        <c:tickLblPos val="nextTo"/>
        <c:crossAx val="36588160"/>
        <c:crosses val="autoZero"/>
        <c:auto val="1"/>
        <c:lblAlgn val="ctr"/>
        <c:lblOffset val="100"/>
        <c:noMultiLvlLbl val="0"/>
      </c:catAx>
      <c:valAx>
        <c:axId val="36588160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36586624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3349032956013251E-4"/>
          <c:y val="2.3004051369676915E-2"/>
          <c:w val="0.99946654918617628"/>
          <c:h val="0.9539918972606461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rgbClr val="E1974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15"/>
            <c:invertIfNegative val="0"/>
            <c:bubble3D val="0"/>
          </c:dPt>
          <c:dPt>
            <c:idx val="16"/>
            <c:invertIfNegative val="0"/>
            <c:bubble3D val="0"/>
          </c:dPt>
          <c:dPt>
            <c:idx val="17"/>
            <c:invertIfNegative val="0"/>
            <c:bubble3D val="0"/>
          </c:dPt>
          <c:dLbls>
            <c:numFmt formatCode="0.0%" sourceLinked="0"/>
            <c:txPr>
              <a:bodyPr/>
              <a:lstStyle/>
              <a:p>
                <a:pPr>
                  <a:defRPr sz="1000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26</c:f>
              <c:strCache>
                <c:ptCount val="25"/>
                <c:pt idx="0">
                  <c:v>Слуга Народу (Дмитро Разумков, Руслан Стефанчук, Ірина Венедіктова)</c:v>
                </c:pt>
                <c:pt idx="1">
                  <c:v>Європейська Солідарність (Петро Порошенко, Андрій Парубій, Ірина Геращенко, Мустафа Джемілєв)</c:v>
                </c:pt>
                <c:pt idx="2">
                  <c:v>Опозиційна платформа — За життя (Юрій Бойко, Вадим Рабінович, Віктор Медведчук)</c:v>
                </c:pt>
                <c:pt idx="3">
                  <c:v>Голос (Святослав Вакарчук, Юлія Клименко, Кіра Рудик)</c:v>
                </c:pt>
                <c:pt idx="4">
                  <c:v>Всеукраїнське об’єднання "Батьківщина" (Юлія Тимошенко, Сергій Тарута, Валентин Наливайченко)</c:v>
                </c:pt>
                <c:pt idx="5">
                  <c:v>Сила і Честь (Ігор Смешко, Олена Сотник, Рефат Чубаров)</c:v>
                </c:pt>
                <c:pt idx="6">
                  <c:v>Всеукраїнське об’єднання "Свобода" (Олег Тягнибок, Андрій Білецький, Дмитро Ярош)</c:v>
                </c:pt>
                <c:pt idx="7">
                  <c:v>Опозиційний блок (Євгеній Мураєв, Олександр Вілкул, Геннадій Кернес, Геннадій Труханов)</c:v>
                </c:pt>
                <c:pt idx="8">
                  <c:v>Партія Шарія (Анатолій Шарій, Ольга Бондаренко, Антоніна Бєлоглазова)</c:v>
                </c:pt>
                <c:pt idx="9">
                  <c:v>Українська cтратегія  Гройсмана (Володимир Гройсман, Лілія Гриневич, Олександр Саєнко, Євген Нищук)</c:v>
                </c:pt>
                <c:pt idx="10">
                  <c:v>Радикальна партія Олега Ляшка (Олег Ляшко, Віктор Галасюк, Андрій Лозовой)</c:v>
                </c:pt>
                <c:pt idx="11">
                  <c:v>Об’єднання "Самопоміч" (Андрій Садовий, Ольга Квасніцька, Олександра Дрік, Оксана Сироїд)</c:v>
                </c:pt>
                <c:pt idx="12">
                  <c:v>Громадянська позиція (Анатолій Гриценко, Дмитро Добродомов, Микола Томенко)</c:v>
                </c:pt>
                <c:pt idx="13">
                  <c:v>Рух Нових Сил Михайла Саакашвілі (Міхеіл Саакашвілі, Давід Сакварелідзе, Олександр Доній)</c:v>
                </c:pt>
                <c:pt idx="14">
                  <c:v>Партія зелених України (Тетяна Бодун, Віталій Кононов, Сергій Луговик)</c:v>
                </c:pt>
                <c:pt idx="15">
                  <c:v>Сила права (Андрій Сенченко, Олександр Данилюк, Володимир Василенко)</c:v>
                </c:pt>
                <c:pt idx="16">
                  <c:v>Аграрна партія України (Михайло Поплавський, Ліля Бортич, Денис Марчук)</c:v>
                </c:pt>
                <c:pt idx="17">
                  <c:v>Патріот (Микола Голомша, Микола Сірий, Георгій Філіпчук, Іван Бобул)</c:v>
                </c:pt>
                <c:pt idx="18">
                  <c:v>Всеукраїнське об'єднання "Факел" (Тетяна Однорог, Олександр Крамар, Олександр Гончаров)</c:v>
                </c:pt>
                <c:pt idx="19">
                  <c:v>Соціальна справедливість (Алла Шлапак, Олександр Дічек, Сніжана Сорока)</c:v>
                </c:pt>
                <c:pt idx="20">
                  <c:v>Незалежність (Анатолій Могильов, Іван Ступак, Тетяна Зюбанова)</c:v>
                </c:pt>
                <c:pt idx="21">
                  <c:v>Сила людей (Олександр Солонтай, Світлана Сова, Остап Єднак)</c:v>
                </c:pt>
                <c:pt idx="22">
                  <c:v>Зіпсував би бюлетень</c:v>
                </c:pt>
                <c:pt idx="23">
                  <c:v>Не знаю</c:v>
                </c:pt>
                <c:pt idx="24">
                  <c:v>Не голосував би</c:v>
                </c:pt>
              </c:strCache>
            </c:strRef>
          </c:cat>
          <c:val>
            <c:numRef>
              <c:f>Sheet1!$B$2:$B$26</c:f>
              <c:numCache>
                <c:formatCode>0.0%</c:formatCode>
                <c:ptCount val="25"/>
                <c:pt idx="0">
                  <c:v>0.45700000000000002</c:v>
                </c:pt>
                <c:pt idx="1">
                  <c:v>0.112</c:v>
                </c:pt>
                <c:pt idx="2">
                  <c:v>8.1000000000000003E-2</c:v>
                </c:pt>
                <c:pt idx="3">
                  <c:v>8.1000000000000003E-2</c:v>
                </c:pt>
                <c:pt idx="4">
                  <c:v>7.6999999999999999E-2</c:v>
                </c:pt>
                <c:pt idx="5">
                  <c:v>4.8000000000000001E-2</c:v>
                </c:pt>
                <c:pt idx="6">
                  <c:v>2.9000000000000001E-2</c:v>
                </c:pt>
                <c:pt idx="7">
                  <c:v>2.5000000000000001E-2</c:v>
                </c:pt>
                <c:pt idx="8">
                  <c:v>1.9E-2</c:v>
                </c:pt>
                <c:pt idx="9">
                  <c:v>1.7999999999999999E-2</c:v>
                </c:pt>
                <c:pt idx="10">
                  <c:v>1.4999999999999999E-2</c:v>
                </c:pt>
                <c:pt idx="11">
                  <c:v>1.4E-2</c:v>
                </c:pt>
                <c:pt idx="12">
                  <c:v>6.0000000000000001E-3</c:v>
                </c:pt>
                <c:pt idx="13">
                  <c:v>4.0000000000000001E-3</c:v>
                </c:pt>
                <c:pt idx="14">
                  <c:v>1E-3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1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"/>
        <c:overlap val="-91"/>
        <c:axId val="36641024"/>
        <c:axId val="36655104"/>
      </c:barChart>
      <c:catAx>
        <c:axId val="36641024"/>
        <c:scaling>
          <c:orientation val="maxMin"/>
        </c:scaling>
        <c:delete val="1"/>
        <c:axPos val="l"/>
        <c:numFmt formatCode="s\t\a\nd\a\rd" sourceLinked="1"/>
        <c:majorTickMark val="none"/>
        <c:minorTickMark val="none"/>
        <c:tickLblPos val="nextTo"/>
        <c:crossAx val="36655104"/>
        <c:crosses val="autoZero"/>
        <c:auto val="1"/>
        <c:lblAlgn val="ctr"/>
        <c:lblOffset val="100"/>
        <c:noMultiLvlLbl val="0"/>
      </c:catAx>
      <c:valAx>
        <c:axId val="36655104"/>
        <c:scaling>
          <c:orientation val="minMax"/>
          <c:max val="0.9"/>
        </c:scaling>
        <c:delete val="1"/>
        <c:axPos val="b"/>
        <c:numFmt formatCode="0%" sourceLinked="0"/>
        <c:majorTickMark val="out"/>
        <c:minorTickMark val="none"/>
        <c:tickLblPos val="nextTo"/>
        <c:crossAx val="36641024"/>
        <c:crosses val="max"/>
        <c:crossBetween val="between"/>
      </c:valAx>
    </c:plotArea>
    <c:plotVisOnly val="1"/>
    <c:dispBlanksAs val="gap"/>
    <c:showDLblsOverMax val="0"/>
  </c:chart>
  <c:txPr>
    <a:bodyPr/>
    <a:lstStyle/>
    <a:p>
      <a:pPr>
        <a:defRPr sz="1100"/>
      </a:pPr>
      <a:endParaRPr lang="ru-RU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9" y="193686"/>
            <a:ext cx="432283" cy="42993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376676"/>
            <a:ext cx="4969029" cy="286434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GfK </a:t>
            </a:r>
            <a:fld id="{C8998D9E-49B2-4097-B552-57EEB9E5A717}" type="datetime4">
              <a:rPr lang="en-US" smtClean="0"/>
              <a:t>July 18, 2019</a:t>
            </a:fld>
            <a:r>
              <a:rPr lang="en-US" dirty="0" smtClean="0"/>
              <a:t> </a:t>
            </a:r>
            <a:r>
              <a:rPr lang="en-US" dirty="0"/>
              <a:t>| </a:t>
            </a:r>
            <a:r>
              <a:rPr lang="en-US" dirty="0" smtClean="0"/>
              <a:t>T</a:t>
            </a:r>
            <a:r>
              <a:rPr lang="ru-RU" dirty="0" smtClean="0"/>
              <a:t>і</a:t>
            </a:r>
            <a:r>
              <a:rPr lang="en-US" dirty="0" err="1" smtClean="0"/>
              <a:t>tle</a:t>
            </a:r>
            <a:r>
              <a:rPr lang="en-US" dirty="0" smtClean="0"/>
              <a:t> </a:t>
            </a:r>
            <a:r>
              <a:rPr lang="en-US" dirty="0"/>
              <a:t>of </a:t>
            </a:r>
            <a:r>
              <a:rPr lang="en-US" dirty="0" err="1" smtClean="0"/>
              <a:t>presentat</a:t>
            </a:r>
            <a:r>
              <a:rPr lang="ru-RU" dirty="0" smtClean="0"/>
              <a:t>і</a:t>
            </a:r>
            <a:r>
              <a:rPr lang="en-US" dirty="0" smtClean="0"/>
              <a:t>on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 bwMode="gray">
          <a:xfrm>
            <a:off x="5703157" y="9376676"/>
            <a:ext cx="648090" cy="286474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61963" y="782638"/>
            <a:ext cx="5873750" cy="33035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291766"/>
            <a:ext cx="5905500" cy="479843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6088" y="9376676"/>
            <a:ext cx="4969029" cy="286434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GfK </a:t>
            </a:r>
            <a:fld id="{0B798607-B8D6-44E8-B6BA-DA2D673578FB}" type="datetime4">
              <a:rPr lang="en-US" smtClean="0"/>
              <a:t>July 18, 2019</a:t>
            </a:fld>
            <a:r>
              <a:rPr lang="en-US" dirty="0" smtClean="0"/>
              <a:t> </a:t>
            </a:r>
            <a:r>
              <a:rPr lang="en-US" dirty="0"/>
              <a:t>| </a:t>
            </a:r>
            <a:r>
              <a:rPr lang="en-US" dirty="0" smtClean="0"/>
              <a:t>T</a:t>
            </a:r>
            <a:r>
              <a:rPr lang="ru-RU" dirty="0" smtClean="0"/>
              <a:t>і</a:t>
            </a:r>
            <a:r>
              <a:rPr lang="en-US" dirty="0" err="1" smtClean="0"/>
              <a:t>tle</a:t>
            </a:r>
            <a:r>
              <a:rPr lang="en-US" dirty="0" smtClean="0"/>
              <a:t> </a:t>
            </a:r>
            <a:r>
              <a:rPr lang="en-US" dirty="0"/>
              <a:t>of </a:t>
            </a:r>
            <a:r>
              <a:rPr lang="en-US" dirty="0" err="1" smtClean="0"/>
              <a:t>presentat</a:t>
            </a:r>
            <a:r>
              <a:rPr lang="ru-RU" dirty="0" smtClean="0"/>
              <a:t>і</a:t>
            </a:r>
            <a:r>
              <a:rPr lang="en-US" dirty="0" smtClean="0"/>
              <a:t>on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 bwMode="gray">
          <a:xfrm>
            <a:off x="5703157" y="9376676"/>
            <a:ext cx="648090" cy="286474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#›</a:t>
            </a:fld>
            <a:endParaRPr lang="de-DE" sz="80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spcAft>
        <a:spcPts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  <p:sp>
        <p:nvSpPr>
          <p:cNvPr id="7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150" y="216019"/>
            <a:ext cx="1440000" cy="1440000"/>
          </a:xfrm>
          <a:prstGeom prst="rect">
            <a:avLst/>
          </a:prstGeom>
        </p:spPr>
      </p:pic>
      <p:sp>
        <p:nvSpPr>
          <p:cNvPr id="9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150" y="216019"/>
            <a:ext cx="144000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1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59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7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  <p:sp>
        <p:nvSpPr>
          <p:cNvPr id="10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1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2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157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411" y="195420"/>
            <a:ext cx="7056979" cy="288040"/>
          </a:xfrm>
        </p:spPr>
        <p:txBody>
          <a:bodyPr anchor="ctr"/>
          <a:lstStyle>
            <a:lvl1pPr>
              <a:defRPr b="0" baseline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uk-UA" dirty="0" smtClean="0"/>
              <a:t>Назва слайду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410" y="1595640"/>
            <a:ext cx="8497180" cy="3280430"/>
          </a:xfrm>
        </p:spPr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uk-UA" noProof="0" dirty="0" err="1" smtClean="0"/>
              <a:t>Click</a:t>
            </a:r>
            <a:r>
              <a:rPr lang="uk-UA" noProof="0" dirty="0" smtClean="0"/>
              <a:t> </a:t>
            </a:r>
            <a:r>
              <a:rPr lang="uk-UA" noProof="0" dirty="0" err="1" smtClean="0"/>
              <a:t>to</a:t>
            </a:r>
            <a:r>
              <a:rPr lang="uk-UA" noProof="0" dirty="0" smtClean="0"/>
              <a:t> </a:t>
            </a:r>
            <a:r>
              <a:rPr lang="uk-UA" noProof="0" dirty="0" err="1" smtClean="0"/>
              <a:t>add</a:t>
            </a:r>
            <a:r>
              <a:rPr lang="uk-UA" noProof="0" dirty="0" smtClean="0"/>
              <a:t> </a:t>
            </a:r>
            <a:r>
              <a:rPr lang="uk-UA" noProof="0" dirty="0" err="1" smtClean="0"/>
              <a:t>agenda</a:t>
            </a:r>
            <a:endParaRPr lang="uk-UA" noProof="0" dirty="0" smtClean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323411" y="555471"/>
            <a:ext cx="7056980" cy="671736"/>
          </a:xfrm>
        </p:spPr>
        <p:txBody>
          <a:bodyPr anchor="t"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  <a:lvl2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2pPr>
            <a:lvl3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3pPr>
            <a:lvl4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4pPr>
            <a:lvl5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5pPr>
          </a:lstStyle>
          <a:p>
            <a:pPr lvl="0"/>
            <a:r>
              <a:rPr lang="ru-RU" dirty="0" smtClean="0"/>
              <a:t>Текст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323409" y="1299219"/>
            <a:ext cx="8497179" cy="224408"/>
          </a:xfrm>
        </p:spPr>
        <p:txBody>
          <a:bodyPr anchor="b"/>
          <a:lstStyle>
            <a:lvl1pPr>
              <a:defRPr sz="1400" i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uk-UA" noProof="0" dirty="0" smtClean="0"/>
              <a:t>Запитання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290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.emf"/><Relationship Id="rId4" Type="http://schemas.openxmlformats.org/officeDocument/2006/relationships/theme" Target="../theme/theme1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57791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8" name="think-cell Folie" r:id="rId9" imgW="353" imgH="353" progId="TCLayout.ActiveDocument.1">
                  <p:embed/>
                </p:oleObj>
              </mc:Choice>
              <mc:Fallback>
                <p:oleObj name="think-cell Folie" r:id="rId9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7056979" cy="2880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7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uk-UA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©</a:t>
            </a:r>
            <a:r>
              <a:rPr lang="en-US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sz="800" b="1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Info Sapіens</a:t>
            </a:r>
            <a:r>
              <a:rPr lang="en-US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uk-UA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|</a:t>
            </a:r>
            <a:r>
              <a:rPr lang="uk-UA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Електоральні настрої українців</a:t>
            </a:r>
            <a:r>
              <a:rPr lang="en-US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(9 </a:t>
            </a:r>
            <a:r>
              <a:rPr lang="uk-UA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– </a:t>
            </a:r>
            <a:r>
              <a:rPr lang="en-US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16</a:t>
            </a:r>
            <a:r>
              <a:rPr lang="uk-UA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uk-UA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липня 2019 року</a:t>
            </a:r>
            <a:r>
              <a:rPr lang="ru-RU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)</a:t>
            </a:r>
            <a:r>
              <a:rPr lang="en-US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, </a:t>
            </a:r>
            <a:r>
              <a:rPr lang="en-US" sz="800" baseline="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n=1178</a:t>
            </a:r>
            <a:r>
              <a:rPr lang="uk-UA" sz="800" noProof="0" dirty="0" smtClean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endParaRPr lang="uk-UA" sz="800" noProof="0" dirty="0" smtClean="0">
              <a:solidFill>
                <a:schemeClr val="tx2"/>
              </a:solidFill>
              <a:latin typeface="Roboto" panose="02000000000000000000" pitchFamily="2" charset="0"/>
              <a:ea typeface="Roboto" panose="02000000000000000000" pitchFamily="2" charset="0"/>
              <a:cs typeface="Times New Roman" panose="02020603050405020304" pitchFamily="18" charset="0"/>
            </a:endParaRPr>
          </a:p>
        </p:txBody>
      </p:sp>
      <p:sp>
        <p:nvSpPr>
          <p:cNvPr id="4" name="VCT_Marker_ID_4" hidden="1"/>
          <p:cNvSpPr/>
          <p:nvPr>
            <p:custDataLst>
              <p:tags r:id="rId8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688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3" orient="horz" pos="1620" userDrawn="1">
          <p15:clr>
            <a:srgbClr val="F26B43"/>
          </p15:clr>
        </p15:guide>
        <p15:guide id="4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chart" Target="../charts/char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6938659"/>
              </p:ext>
            </p:extLst>
          </p:nvPr>
        </p:nvGraphicFramePr>
        <p:xfrm>
          <a:off x="251400" y="1707630"/>
          <a:ext cx="8569190" cy="3168450"/>
        </p:xfrm>
        <a:graphic>
          <a:graphicData uri="http://schemas.openxmlformats.org/drawingml/2006/table">
            <a:tbl>
              <a:tblPr>
                <a:tableStyleId>{C115FB49-3FBE-41CF-8DFC-A938FE5134F0}</a:tableStyleId>
              </a:tblPr>
              <a:tblGrid>
                <a:gridCol w="3312460"/>
                <a:gridCol w="5256730"/>
              </a:tblGrid>
              <a:tr h="126738">
                <a:tc>
                  <a:txBody>
                    <a:bodyPr/>
                    <a:lstStyle/>
                    <a:p>
                      <a:pPr algn="r" fontAlgn="ctr"/>
                      <a:r>
                        <a:rPr lang="uk-UA" sz="700" u="none" strike="noStrike" noProof="0" dirty="0" smtClean="0">
                          <a:effectLst/>
                        </a:rPr>
                        <a:t>Слуга Народу 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(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Д.Разумков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Р.Стефанчук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І.Венедіктова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)</a:t>
                      </a:r>
                      <a:endParaRPr lang="uk-UA" sz="600" b="0" i="0" u="none" strike="noStrike" noProof="0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algn="r" fontAlgn="ctr"/>
                      <a:r>
                        <a:rPr lang="uk-UA" sz="700" u="none" strike="noStrike" noProof="0" dirty="0" smtClean="0">
                          <a:effectLst/>
                        </a:rPr>
                        <a:t>Європейська Солідарність 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(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П.Порошенко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А.Парубій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І.Геращенко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М.Джемілєв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)</a:t>
                      </a:r>
                      <a:endParaRPr lang="uk-UA" sz="600" b="0" i="0" u="none" strike="noStrike" noProof="0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algn="r" fontAlgn="ctr"/>
                      <a:r>
                        <a:rPr lang="uk-UA" sz="700" u="none" strike="noStrike" noProof="0" dirty="0" smtClean="0">
                          <a:effectLst/>
                        </a:rPr>
                        <a:t>Опозиційна платформа — За життя 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(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Ю.Бойко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В.Рабінович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В.Медведчук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)</a:t>
                      </a:r>
                      <a:endParaRPr lang="uk-UA" sz="600" b="0" i="0" u="none" strike="noStrike" noProof="0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algn="r" fontAlgn="ctr"/>
                      <a:r>
                        <a:rPr lang="uk-UA" sz="700" u="none" strike="noStrike" noProof="0" dirty="0" smtClean="0">
                          <a:effectLst/>
                        </a:rPr>
                        <a:t>Голос 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(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С.Вакарчук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Ю.Клименко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К.Рудик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)</a:t>
                      </a: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algn="r" fontAlgn="ctr"/>
                      <a:r>
                        <a:rPr lang="uk-UA" sz="700" u="none" strike="noStrike" noProof="0" dirty="0" smtClean="0">
                          <a:effectLst/>
                        </a:rPr>
                        <a:t>Всеукраїнське об’єднання "Батьківщина" 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(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Ю.Тимошенко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С. Тарута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В.Наливайченко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)</a:t>
                      </a: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algn="r" fontAlgn="ctr"/>
                      <a:r>
                        <a:rPr lang="uk-UA" sz="700" u="none" strike="noStrike" noProof="0" dirty="0" smtClean="0">
                          <a:effectLst/>
                        </a:rPr>
                        <a:t>Сила і Честь 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(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І.Смешко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О.Сотник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Р.Чубаров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)</a:t>
                      </a:r>
                      <a:endParaRPr lang="uk-UA" sz="600" b="0" i="0" u="none" strike="noStrike" noProof="0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700" u="none" strike="noStrike" noProof="0" dirty="0" smtClean="0">
                          <a:effectLst/>
                        </a:rPr>
                        <a:t>Всеукраїнське об’єднання "Свобода" 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(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О.Тягнибок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А.Білецький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Д.Ярош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)</a:t>
                      </a:r>
                      <a:endParaRPr lang="en-US" sz="700" u="none" strike="noStrike" noProof="0" dirty="0" smtClean="0">
                        <a:effectLst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u="none" strike="noStrike" noProof="0" dirty="0" err="1" smtClean="0">
                          <a:effectLst/>
                        </a:rPr>
                        <a:t>Опозиційний</a:t>
                      </a:r>
                      <a:r>
                        <a:rPr lang="ru-RU" sz="700" u="none" strike="noStrike" noProof="0" dirty="0" smtClean="0">
                          <a:effectLst/>
                        </a:rPr>
                        <a:t> блок </a:t>
                      </a:r>
                      <a:r>
                        <a:rPr lang="ru-RU" sz="600" u="none" strike="noStrike" noProof="0" dirty="0" smtClean="0">
                          <a:effectLst/>
                        </a:rPr>
                        <a:t>(</a:t>
                      </a:r>
                      <a:r>
                        <a:rPr lang="ru-RU" sz="600" u="none" strike="noStrike" noProof="0" dirty="0" err="1" smtClean="0">
                          <a:effectLst/>
                        </a:rPr>
                        <a:t>Є.Мураєв</a:t>
                      </a:r>
                      <a:r>
                        <a:rPr lang="ru-RU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ru-RU" sz="600" u="none" strike="noStrike" noProof="0" dirty="0" err="1" smtClean="0">
                          <a:effectLst/>
                        </a:rPr>
                        <a:t>О.Вілкул</a:t>
                      </a:r>
                      <a:r>
                        <a:rPr lang="ru-RU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ru-RU" sz="600" u="none" strike="noStrike" noProof="0" dirty="0" err="1" smtClean="0">
                          <a:effectLst/>
                        </a:rPr>
                        <a:t>Г.Кернес</a:t>
                      </a:r>
                      <a:r>
                        <a:rPr lang="ru-RU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ru-RU" sz="600" u="none" strike="noStrike" noProof="0" dirty="0" err="1" smtClean="0">
                          <a:effectLst/>
                        </a:rPr>
                        <a:t>Г.Труханов</a:t>
                      </a:r>
                      <a:r>
                        <a:rPr lang="ru-RU" sz="700" u="none" strike="noStrike" noProof="0" dirty="0" smtClean="0">
                          <a:effectLst/>
                        </a:rPr>
                        <a:t>)</a:t>
                      </a:r>
                      <a:endParaRPr lang="en-US" sz="700" u="none" strike="noStrike" noProof="0" dirty="0" smtClean="0">
                        <a:effectLst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700" u="none" strike="noStrike" noProof="0" dirty="0" smtClean="0">
                          <a:effectLst/>
                        </a:rPr>
                        <a:t>Партія </a:t>
                      </a:r>
                      <a:r>
                        <a:rPr lang="uk-UA" sz="700" u="none" strike="noStrike" noProof="0" dirty="0" err="1" smtClean="0">
                          <a:effectLst/>
                        </a:rPr>
                        <a:t>Шарія</a:t>
                      </a:r>
                      <a:r>
                        <a:rPr lang="uk-UA" sz="700" u="none" strike="noStrike" noProof="0" dirty="0" smtClean="0">
                          <a:effectLst/>
                        </a:rPr>
                        <a:t> 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(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О.Бондаренко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А.Бєлоглазова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)</a:t>
                      </a:r>
                      <a:endParaRPr lang="uk-UA" sz="600" b="0" i="0" u="none" strike="noStrike" noProof="0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algn="r" fontAlgn="ctr"/>
                      <a:r>
                        <a:rPr lang="uk-UA" sz="700" u="none" strike="noStrike" noProof="0" dirty="0" smtClean="0">
                          <a:effectLst/>
                        </a:rPr>
                        <a:t>Українська </a:t>
                      </a:r>
                      <a:r>
                        <a:rPr lang="uk-UA" sz="700" u="none" strike="noStrike" noProof="0" dirty="0" err="1" smtClean="0">
                          <a:effectLst/>
                        </a:rPr>
                        <a:t>cтратегія</a:t>
                      </a:r>
                      <a:r>
                        <a:rPr lang="uk-UA" sz="700" u="none" strike="noStrike" noProof="0" dirty="0" smtClean="0">
                          <a:effectLst/>
                        </a:rPr>
                        <a:t> </a:t>
                      </a:r>
                      <a:r>
                        <a:rPr lang="uk-UA" sz="700" u="none" strike="noStrike" noProof="0" dirty="0" err="1" smtClean="0">
                          <a:effectLst/>
                        </a:rPr>
                        <a:t>Гройсмана</a:t>
                      </a:r>
                      <a:r>
                        <a:rPr lang="uk-UA" sz="700" u="none" strike="noStrike" noProof="0" dirty="0" smtClean="0">
                          <a:effectLst/>
                        </a:rPr>
                        <a:t> 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(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В.Гройсман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Л.Гриневич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О.Саєнко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Є.Нищук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)</a:t>
                      </a:r>
                      <a:endParaRPr lang="uk-UA" sz="600" b="0" i="0" u="none" strike="noStrike" noProof="0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u="none" strike="noStrike" noProof="0" dirty="0" smtClean="0">
                          <a:effectLst/>
                        </a:rPr>
                        <a:t>Радикальна </a:t>
                      </a:r>
                      <a:r>
                        <a:rPr lang="ru-RU" sz="700" u="none" strike="noStrike" noProof="0" dirty="0" err="1" smtClean="0">
                          <a:effectLst/>
                        </a:rPr>
                        <a:t>партія</a:t>
                      </a:r>
                      <a:r>
                        <a:rPr lang="ru-RU" sz="700" u="none" strike="noStrike" noProof="0" dirty="0" smtClean="0">
                          <a:effectLst/>
                        </a:rPr>
                        <a:t> Олега Ляшка </a:t>
                      </a:r>
                      <a:r>
                        <a:rPr lang="en-US" sz="600" u="none" strike="noStrike" noProof="0" dirty="0" smtClean="0">
                          <a:effectLst/>
                        </a:rPr>
                        <a:t>(</a:t>
                      </a:r>
                      <a:r>
                        <a:rPr lang="ru-RU" sz="600" u="none" strike="noStrike" noProof="0" dirty="0" err="1" smtClean="0">
                          <a:effectLst/>
                        </a:rPr>
                        <a:t>О.Ляшко</a:t>
                      </a:r>
                      <a:r>
                        <a:rPr lang="ru-RU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ru-RU" sz="600" u="none" strike="noStrike" noProof="0" dirty="0" err="1" smtClean="0">
                          <a:effectLst/>
                        </a:rPr>
                        <a:t>В.Галасюк</a:t>
                      </a:r>
                      <a:r>
                        <a:rPr lang="ru-RU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ru-RU" sz="600" u="none" strike="noStrike" noProof="0" dirty="0" err="1" smtClean="0">
                          <a:effectLst/>
                        </a:rPr>
                        <a:t>А.Лозовой</a:t>
                      </a:r>
                      <a:r>
                        <a:rPr lang="ru-RU" sz="600" u="none" strike="noStrike" noProof="0" dirty="0" smtClean="0">
                          <a:effectLst/>
                        </a:rPr>
                        <a:t>)</a:t>
                      </a:r>
                      <a:endParaRPr lang="en-US" sz="600" u="none" strike="noStrike" noProof="0" dirty="0" smtClean="0">
                        <a:effectLst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700" u="none" strike="noStrike" noProof="0" dirty="0" smtClean="0">
                          <a:effectLst/>
                        </a:rPr>
                        <a:t>Об’єднання "Самопоміч" 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(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А.Садовий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О.Квасніцька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О.Дрік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О.Сироїд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)</a:t>
                      </a:r>
                      <a:endParaRPr lang="uk-UA" sz="600" b="0" i="0" u="none" strike="noStrike" noProof="0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700" u="none" strike="noStrike" noProof="0" dirty="0" smtClean="0">
                          <a:effectLst/>
                        </a:rPr>
                        <a:t>Громадянська позиція 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(А. Гриценко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Д.Добродомов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М.Томенко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)</a:t>
                      </a:r>
                      <a:endParaRPr lang="uk-UA" sz="600" b="0" i="0" u="none" strike="noStrike" noProof="0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algn="r" fontAlgn="ctr"/>
                      <a:r>
                        <a:rPr lang="ru-RU" sz="700" u="none" strike="noStrike" noProof="0" dirty="0" smtClean="0">
                          <a:effectLst/>
                        </a:rPr>
                        <a:t>Рух </a:t>
                      </a:r>
                      <a:r>
                        <a:rPr lang="ru-RU" sz="700" u="none" strike="noStrike" noProof="0" dirty="0" err="1" smtClean="0">
                          <a:effectLst/>
                        </a:rPr>
                        <a:t>Нових</a:t>
                      </a:r>
                      <a:r>
                        <a:rPr lang="ru-RU" sz="700" u="none" strike="noStrike" noProof="0" dirty="0" smtClean="0">
                          <a:effectLst/>
                        </a:rPr>
                        <a:t> Сил </a:t>
                      </a:r>
                      <a:r>
                        <a:rPr lang="ru-RU" sz="700" u="none" strike="noStrike" noProof="0" dirty="0" err="1" smtClean="0">
                          <a:effectLst/>
                        </a:rPr>
                        <a:t>Михайла</a:t>
                      </a:r>
                      <a:r>
                        <a:rPr lang="ru-RU" sz="700" u="none" strike="noStrike" noProof="0" dirty="0" smtClean="0">
                          <a:effectLst/>
                        </a:rPr>
                        <a:t> </a:t>
                      </a:r>
                      <a:r>
                        <a:rPr lang="ru-RU" sz="700" u="none" strike="noStrike" noProof="0" dirty="0" err="1" smtClean="0">
                          <a:effectLst/>
                        </a:rPr>
                        <a:t>Саакашвілі</a:t>
                      </a:r>
                      <a:r>
                        <a:rPr lang="ru-RU" sz="700" u="none" strike="noStrike" noProof="0" dirty="0" smtClean="0">
                          <a:effectLst/>
                        </a:rPr>
                        <a:t> </a:t>
                      </a:r>
                      <a:r>
                        <a:rPr lang="ru-RU" sz="600" u="none" strike="noStrike" noProof="0" dirty="0" smtClean="0">
                          <a:effectLst/>
                        </a:rPr>
                        <a:t>(</a:t>
                      </a:r>
                      <a:r>
                        <a:rPr lang="ru-RU" sz="600" u="none" strike="noStrike" noProof="0" dirty="0" err="1" smtClean="0">
                          <a:effectLst/>
                        </a:rPr>
                        <a:t>М.Саакашвілі</a:t>
                      </a:r>
                      <a:r>
                        <a:rPr lang="ru-RU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ru-RU" sz="600" u="none" strike="noStrike" noProof="0" dirty="0" err="1" smtClean="0">
                          <a:effectLst/>
                        </a:rPr>
                        <a:t>Д.Сакварелідзе</a:t>
                      </a:r>
                      <a:r>
                        <a:rPr lang="ru-RU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ru-RU" sz="600" u="none" strike="noStrike" noProof="0" dirty="0" err="1" smtClean="0">
                          <a:effectLst/>
                        </a:rPr>
                        <a:t>О.Доній</a:t>
                      </a:r>
                      <a:r>
                        <a:rPr lang="ru-RU" sz="600" u="none" strike="noStrike" noProof="0" dirty="0" smtClean="0">
                          <a:effectLst/>
                        </a:rPr>
                        <a:t>)</a:t>
                      </a:r>
                      <a:endParaRPr lang="en-US" sz="700" u="none" strike="noStrike" noProof="0" dirty="0" smtClean="0">
                        <a:effectLst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700" u="none" strike="noStrike" noProof="0" dirty="0" smtClean="0">
                          <a:effectLst/>
                        </a:rPr>
                        <a:t>Партія зелених України 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(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Т.Бодун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В.Кононов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С.Луговик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)</a:t>
                      </a:r>
                      <a:endParaRPr lang="uk-UA" sz="600" b="0" i="0" u="none" strike="noStrike" noProof="0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700" u="none" strike="noStrike" noProof="0" dirty="0" smtClean="0">
                          <a:effectLst/>
                        </a:rPr>
                        <a:t>Сила права 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(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А.Сенченко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О.Данилюк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В.Василенко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)</a:t>
                      </a:r>
                      <a:endParaRPr lang="en-US" sz="600" u="none" strike="noStrike" noProof="0" dirty="0" smtClean="0">
                        <a:effectLst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marL="0" marR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700" u="none" strike="noStrike" noProof="0" dirty="0" smtClean="0">
                          <a:effectLst/>
                        </a:rPr>
                        <a:t>Аграрна партія України 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(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М.Поплавський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Л.Бортич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Д.Марчук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)</a:t>
                      </a:r>
                      <a:endParaRPr lang="uk-UA" sz="600" b="0" i="0" u="none" strike="noStrike" noProof="0" dirty="0" smtClean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algn="r" fontAlgn="ctr"/>
                      <a:r>
                        <a:rPr lang="uk-UA" sz="700" u="none" strike="noStrike" noProof="0" dirty="0" smtClean="0">
                          <a:effectLst/>
                        </a:rPr>
                        <a:t>Патріот 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(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М.Голомша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М.Сірий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Г.Філіпчук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І.Бобул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)</a:t>
                      </a:r>
                      <a:endParaRPr lang="uk-UA" sz="600" b="0" i="0" u="none" strike="noStrike" noProof="0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algn="r" fontAlgn="ctr"/>
                      <a:r>
                        <a:rPr lang="uk-UA" sz="700" u="none" strike="noStrike" noProof="0" dirty="0" smtClean="0">
                          <a:effectLst/>
                        </a:rPr>
                        <a:t>Всеукраїнське об'єднання "Факел" 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(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Т.Однорог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О.Крамар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О.Гончаров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)</a:t>
                      </a:r>
                      <a:endParaRPr lang="uk-UA" sz="600" b="0" i="0" u="none" strike="noStrike" noProof="0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algn="r" fontAlgn="ctr"/>
                      <a:r>
                        <a:rPr lang="uk-UA" sz="700" u="none" strike="noStrike" noProof="0" dirty="0" smtClean="0">
                          <a:effectLst/>
                        </a:rPr>
                        <a:t>Соціальна справедливість (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А.Шлапак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О.Дічек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С.Сорока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)</a:t>
                      </a:r>
                      <a:endParaRPr lang="uk-UA" sz="600" b="0" i="0" u="none" strike="noStrike" noProof="0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algn="r" fontAlgn="ctr"/>
                      <a:r>
                        <a:rPr lang="uk-UA" sz="700" u="none" strike="noStrike" noProof="0" dirty="0" smtClean="0">
                          <a:effectLst/>
                        </a:rPr>
                        <a:t>Незалежність 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(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А.Могильов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І.Ступак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Т.Зюбанова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)</a:t>
                      </a:r>
                      <a:endParaRPr lang="uk-UA" sz="600" b="0" i="0" u="none" strike="noStrike" noProof="0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algn="r" fontAlgn="ctr"/>
                      <a:r>
                        <a:rPr lang="uk-UA" sz="700" u="none" strike="noStrike" noProof="0" dirty="0" smtClean="0">
                          <a:effectLst/>
                        </a:rPr>
                        <a:t>Сила людей 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(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О.Солонтай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С.Сова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, </a:t>
                      </a:r>
                      <a:r>
                        <a:rPr lang="uk-UA" sz="600" u="none" strike="noStrike" noProof="0" dirty="0" err="1" smtClean="0">
                          <a:effectLst/>
                        </a:rPr>
                        <a:t>О.Єднак</a:t>
                      </a:r>
                      <a:r>
                        <a:rPr lang="uk-UA" sz="600" u="none" strike="noStrike" noProof="0" dirty="0" smtClean="0">
                          <a:effectLst/>
                        </a:rPr>
                        <a:t>)</a:t>
                      </a:r>
                      <a:endParaRPr lang="uk-UA" sz="600" b="0" i="0" u="none" strike="noStrike" noProof="0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algn="r" fontAlgn="ctr"/>
                      <a:r>
                        <a:rPr lang="uk-UA" sz="700" i="1" u="none" strike="noStrike" noProof="0" dirty="0" smtClean="0">
                          <a:effectLst/>
                        </a:rPr>
                        <a:t>Зіпсував би бюлетень</a:t>
                      </a:r>
                      <a:endParaRPr lang="uk-UA" sz="700" b="0" i="1" u="none" strike="noStrike" noProof="0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algn="r" fontAlgn="ctr"/>
                      <a:r>
                        <a:rPr lang="uk-UA" sz="700" i="1" u="none" strike="noStrike" noProof="0" dirty="0" smtClean="0">
                          <a:effectLst/>
                        </a:rPr>
                        <a:t>Не знаю</a:t>
                      </a:r>
                      <a:endParaRPr lang="uk-UA" sz="700" b="0" i="1" u="none" strike="noStrike" noProof="0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26738">
                <a:tc>
                  <a:txBody>
                    <a:bodyPr/>
                    <a:lstStyle/>
                    <a:p>
                      <a:pPr algn="r" fontAlgn="ctr"/>
                      <a:r>
                        <a:rPr lang="uk-UA" sz="700" i="1" u="none" strike="noStrike" noProof="0" dirty="0" smtClean="0">
                          <a:effectLst/>
                        </a:rPr>
                        <a:t>Не голосував би</a:t>
                      </a:r>
                      <a:endParaRPr lang="uk-UA" sz="700" b="0" i="1" u="none" strike="noStrike" noProof="0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5604" marR="5604" marT="560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6" name="Текст 4"/>
          <p:cNvSpPr>
            <a:spLocks noGrp="1"/>
          </p:cNvSpPr>
          <p:nvPr>
            <p:ph type="body" sz="quarter" idx="11"/>
          </p:nvPr>
        </p:nvSpPr>
        <p:spPr>
          <a:xfrm>
            <a:off x="316585" y="168262"/>
            <a:ext cx="7208165" cy="675248"/>
          </a:xfrm>
        </p:spPr>
        <p:txBody>
          <a:bodyPr/>
          <a:lstStyle/>
          <a:p>
            <a:pPr algn="just"/>
            <a:r>
              <a:rPr lang="uk-UA" dirty="0"/>
              <a:t>Зараз я покажу Вам партії, які можуть балотуватись на парламентські вибори. Хоч до парламентських виборів ще далеко, але якби вони відбулися в цю неділю, за яку партію </a:t>
            </a:r>
            <a:r>
              <a:rPr lang="ru-RU" smtClean="0"/>
              <a:t>В</a:t>
            </a:r>
            <a:r>
              <a:rPr lang="uk-UA" smtClean="0"/>
              <a:t>и </a:t>
            </a:r>
            <a:r>
              <a:rPr lang="uk-UA" dirty="0"/>
              <a:t>би голосували, якби треба було вибирати з тих партій, які у цьому списку? 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127606"/>
              </p:ext>
            </p:extLst>
          </p:nvPr>
        </p:nvGraphicFramePr>
        <p:xfrm>
          <a:off x="3563860" y="1059540"/>
          <a:ext cx="5255715" cy="640080"/>
        </p:xfrm>
        <a:graphic>
          <a:graphicData uri="http://schemas.openxmlformats.org/drawingml/2006/table">
            <a:tbl>
              <a:tblPr firstRow="1" bandRow="1">
                <a:tableStyleId>{C115FB49-3FBE-41CF-8DFC-A938FE5134F0}</a:tableStyleId>
              </a:tblPr>
              <a:tblGrid>
                <a:gridCol w="1751905"/>
                <a:gridCol w="1751905"/>
                <a:gridCol w="1751905"/>
              </a:tblGrid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uk-UA" sz="900" b="0" noProof="0" dirty="0" smtClean="0"/>
                        <a:t>Серед усіх </a:t>
                      </a:r>
                      <a:endParaRPr lang="uk-UA" sz="900" b="0" noProof="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uk-UA" sz="900" b="0" noProof="0" dirty="0" smtClean="0"/>
                        <a:t>Серед тих, хто скоріше всього піде  голосувати з ймовірністю 7-10 за 10-бальною шкалою</a:t>
                      </a:r>
                      <a:endParaRPr lang="uk-UA" sz="900" b="0" noProof="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uk-UA" sz="900" b="0" noProof="0" dirty="0" smtClean="0"/>
                        <a:t>Серед тих, хто планує голосувати і визначився</a:t>
                      </a:r>
                      <a:endParaRPr lang="uk-UA" sz="900" b="0" noProof="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9" name="Content Placeholder 4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6680323"/>
              </p:ext>
            </p:extLst>
          </p:nvPr>
        </p:nvGraphicFramePr>
        <p:xfrm>
          <a:off x="3419840" y="1635620"/>
          <a:ext cx="2232310" cy="3312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0" name="Content Placeholder 4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4547442"/>
              </p:ext>
            </p:extLst>
          </p:nvPr>
        </p:nvGraphicFramePr>
        <p:xfrm>
          <a:off x="5148080" y="1635620"/>
          <a:ext cx="2232310" cy="3312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1" name="Content Placeholder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71949582"/>
              </p:ext>
            </p:extLst>
          </p:nvPr>
        </p:nvGraphicFramePr>
        <p:xfrm>
          <a:off x="6911690" y="1635620"/>
          <a:ext cx="2232310" cy="3312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047088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THINKCELLUNDODONOTDELETE" val="0"/>
  <p:tag name="VCT_SHOW_CA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1_Info_Sapiens_0.1">
  <a:themeElements>
    <a:clrScheme name="Info Sapiens">
      <a:dk1>
        <a:srgbClr val="000000"/>
      </a:dk1>
      <a:lt1>
        <a:sysClr val="window" lastClr="FFFFFF"/>
      </a:lt1>
      <a:dk2>
        <a:srgbClr val="535154"/>
      </a:dk2>
      <a:lt2>
        <a:srgbClr val="808585"/>
      </a:lt2>
      <a:accent1>
        <a:srgbClr val="396AB1"/>
      </a:accent1>
      <a:accent2>
        <a:srgbClr val="DA7C30"/>
      </a:accent2>
      <a:accent3>
        <a:srgbClr val="3E9651"/>
      </a:accent3>
      <a:accent4>
        <a:srgbClr val="CC2529"/>
      </a:accent4>
      <a:accent5>
        <a:srgbClr val="6B4C9A"/>
      </a:accent5>
      <a:accent6>
        <a:srgbClr val="922428"/>
      </a:accent6>
      <a:hlink>
        <a:srgbClr val="948B3D"/>
      </a:hlink>
      <a:folHlink>
        <a:srgbClr val="B2B2B2"/>
      </a:folHlink>
    </a:clrScheme>
    <a:fontScheme name="Info Sapiens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Azure">
      <a:srgbClr val="396AB1"/>
    </a:custClr>
    <a:custClr name="Brandy Punch">
      <a:srgbClr val="DA7C30"/>
    </a:custClr>
    <a:custClr name="Chateau Green">
      <a:srgbClr val="3E9651"/>
    </a:custClr>
    <a:custClr name="Cardinal">
      <a:srgbClr val="CC2529"/>
    </a:custClr>
    <a:custClr name="Gravel">
      <a:srgbClr val="535154"/>
    </a:custClr>
    <a:custClr name="Butterfly Bush">
      <a:srgbClr val="6B4C9A"/>
    </a:custClr>
    <a:custClr name="Burnt Umber">
      <a:srgbClr val="922428"/>
    </a:custClr>
    <a:custClr name="Sycamore">
      <a:srgbClr val="948B3D"/>
    </a:custClr>
    <a:custClr name="Light Azure">
      <a:srgbClr val="7293CB"/>
    </a:custClr>
    <a:custClr name="Light Brandy Punch">
      <a:srgbClr val="E1974C"/>
    </a:custClr>
    <a:custClr name="Light Chateau Green">
      <a:srgbClr val="84BA5B"/>
    </a:custClr>
    <a:custClr name="Light Cardinal">
      <a:srgbClr val="D35E60"/>
    </a:custClr>
    <a:custClr name="Light Gravel">
      <a:srgbClr val="808585"/>
    </a:custClr>
    <a:custClr name="Light Butterfly Bush">
      <a:srgbClr val="9067A7"/>
    </a:custClr>
    <a:custClr name="Light Burnt Umber">
      <a:srgbClr val="AB6857"/>
    </a:custClr>
    <a:custClr name="Light Sycamore">
      <a:srgbClr val="CCC210"/>
    </a:custClr>
  </a:custClrLst>
  <a:extLst>
    <a:ext uri="{05A4C25C-085E-4340-85A3-A5531E510DB2}">
      <thm15:themeFamily xmlns:thm15="http://schemas.microsoft.com/office/thememl/2012/main" xmlns="" name="InfoSapiens" id="{D12D9490-BA7C-4432-BAAB-86CB86360C3E}" vid="{B9131DAF-875B-4352-85F1-4A21FF241D89}"/>
    </a:ext>
  </a:extLst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Override1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GfK Group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A2AD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jf0640f97dcd40049d3fc8c3d10ff855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jf0640f97dcd40049d3fc8c3d10ff855>
    <h059eda5e5c344e5901eabd9b8ae1d5d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h059eda5e5c344e5901eabd9b8ae1d5d>
    <PublishingStartDate xmlns="http://schemas.microsoft.com/sharepoint/v3" xsi:nil="true"/>
    <PublishingExpirationDate xmlns="http://schemas.microsoft.com/sharepoint/v3" xsi:nil="true"/>
    <p986eefbff5f4b2788134fa6982c273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986eefbff5f4b2788134fa6982c2730>
    <e999b8edfbce4772b22c3a8c74ff36ce xmlns="fdaf2857-34a0-4271-9efd-53feeda81814">
      <Terms xmlns="http://schemas.microsoft.com/office/infopath/2007/PartnerControls"/>
    </e999b8edfbce4772b22c3a8c74ff36ce>
    <TaxCatchAll xmlns="eaa6d935-851e-4683-8fb3-4830ef9470e6">
      <Value>68</Value>
      <Value>502</Value>
      <Value>64</Value>
      <Value>57</Value>
      <Value>1781</Value>
      <Value>97</Value>
      <Value>73</Value>
      <Value>69</Value>
    </TaxCatchAll>
    <m0c14ac2d9c042e3be8883c9fd5ef198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m0c14ac2d9c042e3be8883c9fd5ef198>
    <TaxKeywordTaxHTField xmlns="eaa6d935-851e-4683-8fb3-4830ef9470e6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</TermName>
          <TermId xmlns="http://schemas.microsoft.com/office/infopath/2007/PartnerControls">50a0b034-169b-4062-b9b1-f0dd9c5b2843</TermId>
        </TermInfo>
        <TermInfo xmlns="http://schemas.microsoft.com/office/infopath/2007/PartnerControls">
          <TermName xmlns="http://schemas.microsoft.com/office/infopath/2007/PartnerControls">slide gallery</TermName>
          <TermId xmlns="http://schemas.microsoft.com/office/infopath/2007/PartnerControls">fa6e0ad1-8c10-43e4-af9b-445124adfdc8</TermId>
        </TermInfo>
      </Terms>
    </TaxKeywordTaxHTField>
    <i6d89d2a22ad4b4885b9858a4f35747a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i6d89d2a22ad4b4885b9858a4f35747a>
    <AverageRating xmlns="http://schemas.microsoft.com/sharepoint/v3" xsi:nil="true"/>
    <a9556e1ac9ee423090b285ae20260b0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ross Sector</TermName>
          <TermId xmlns="http://schemas.microsoft.com/office/infopath/2007/PartnerControls">d51dcd69-a6f7-4fb6-bc11-144a9da6fd82</TermId>
        </TermInfo>
      </Terms>
    </a9556e1ac9ee423090b285ae20260b00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151DFF91B0A44197B29C020F8C642F" ma:contentTypeVersion="47" ma:contentTypeDescription="Create a new document." ma:contentTypeScope="" ma:versionID="dc12ddc0377c248d1da22c1be46733ac">
  <xsd:schema xmlns:xsd="http://www.w3.org/2001/XMLSchema" xmlns:xs="http://www.w3.org/2001/XMLSchema" xmlns:p="http://schemas.microsoft.com/office/2006/metadata/properties" xmlns:ns1="http://schemas.microsoft.com/sharepoint/v3" xmlns:ns2="fdaf2857-34a0-4271-9efd-53feeda81814" xmlns:ns3="eaa6d935-851e-4683-8fb3-4830ef9470e6" targetNamespace="http://schemas.microsoft.com/office/2006/metadata/properties" ma:root="true" ma:fieldsID="2c914b0922d7659b44e711b6a8f5daf5" ns1:_="" ns2:_="" ns3:_="">
    <xsd:import namespace="http://schemas.microsoft.com/sharepoint/v3"/>
    <xsd:import namespace="fdaf2857-34a0-4271-9efd-53feeda81814"/>
    <xsd:import namespace="eaa6d935-851e-4683-8fb3-4830ef9470e6"/>
    <xsd:element name="properties">
      <xsd:complexType>
        <xsd:sequence>
          <xsd:element name="documentManagement">
            <xsd:complexType>
              <xsd:all>
                <xsd:element ref="ns2:a9556e1ac9ee423090b285ae20260b00" minOccurs="0"/>
                <xsd:element ref="ns3:TaxCatchAll" minOccurs="0"/>
                <xsd:element ref="ns3:TaxCatchAllLabel" minOccurs="0"/>
                <xsd:element ref="ns2:h059eda5e5c344e5901eabd9b8ae1d5d" minOccurs="0"/>
                <xsd:element ref="ns2:p986eefbff5f4b2788134fa6982c2730" minOccurs="0"/>
                <xsd:element ref="ns2:e999b8edfbce4772b22c3a8c74ff36ce" minOccurs="0"/>
                <xsd:element ref="ns2:jf0640f97dcd40049d3fc8c3d10ff855" minOccurs="0"/>
                <xsd:element ref="ns2:i6d89d2a22ad4b4885b9858a4f35747a" minOccurs="0"/>
                <xsd:element ref="ns2:m0c14ac2d9c042e3be8883c9fd5ef198" minOccurs="0"/>
                <xsd:element ref="ns3:TaxKeywordTaxHTField" minOccurs="0"/>
                <xsd:element ref="ns1:PublishingStartDate" minOccurs="0"/>
                <xsd:element ref="ns1:PublishingExpirationDate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26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7" nillable="true" ma:displayName="Scheduling End Date" ma:description="" ma:hidden="true" ma:internalName="PublishingExpirationDate">
      <xsd:simpleType>
        <xsd:restriction base="dms:Unknown"/>
      </xsd:simpleType>
    </xsd:element>
    <xsd:element name="AverageRating" ma:index="28" nillable="true" ma:displayName="Rating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f2857-34a0-4271-9efd-53feeda81814" elementFormDefault="qualified">
    <xsd:import namespace="http://schemas.microsoft.com/office/2006/documentManagement/types"/>
    <xsd:import namespace="http://schemas.microsoft.com/office/infopath/2007/PartnerControls"/>
    <xsd:element name="a9556e1ac9ee423090b285ae20260b00" ma:index="2" nillable="true" ma:taxonomy="true" ma:internalName="a9556e1ac9ee423090b285ae20260b00" ma:taxonomyFieldName="GfK_x0020_sector" ma:displayName="GfK sector" ma:readOnly="false" ma:default="" ma:fieldId="{a9556e1a-c9ee-4230-90b2-85ae20260b00}" ma:taxonomyMulti="true" ma:sspId="7262ee28-f1c0-414c-ad77-c1ea98916dd9" ma:termSetId="8100b7d8-db72-494e-93d1-2c441bfd6c3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059eda5e5c344e5901eabd9b8ae1d5d" ma:index="6" nillable="true" ma:taxonomy="true" ma:internalName="h059eda5e5c344e5901eabd9b8ae1d5d" ma:taxonomyFieldName="Industries" ma:displayName="Industries" ma:readOnly="false" ma:default="" ma:fieldId="{1059eda5-e5c3-44e5-901e-abd9b8ae1d5d}" ma:taxonomyMulti="true" ma:sspId="7262ee28-f1c0-414c-ad77-c1ea98916dd9" ma:termSetId="5a885248-49da-421b-8a8b-00dd6ab23a4c" ma:anchorId="484d5cc4-00ce-4842-9cb2-84f285bc868b" ma:open="false" ma:isKeyword="false">
      <xsd:complexType>
        <xsd:sequence>
          <xsd:element ref="pc:Terms" minOccurs="0" maxOccurs="1"/>
        </xsd:sequence>
      </xsd:complexType>
    </xsd:element>
    <xsd:element name="p986eefbff5f4b2788134fa6982c2730" ma:index="8" nillable="true" ma:taxonomy="true" ma:internalName="p986eefbff5f4b2788134fa6982c2730" ma:taxonomyFieldName="Solutions" ma:displayName="Solutions" ma:readOnly="false" ma:default="" ma:fieldId="{9986eefb-ff5f-4b27-8813-4fa6982c2730}" ma:taxonomyMulti="true" ma:sspId="7262ee28-f1c0-414c-ad77-c1ea98916dd9" ma:termSetId="cbb9bdaf-82c2-446c-b699-94acba818cb2" ma:anchorId="c5ccb8f4-f96c-4fc7-ba62-720130679328" ma:open="false" ma:isKeyword="false">
      <xsd:complexType>
        <xsd:sequence>
          <xsd:element ref="pc:Terms" minOccurs="0" maxOccurs="1"/>
        </xsd:sequence>
      </xsd:complexType>
    </xsd:element>
    <xsd:element name="e999b8edfbce4772b22c3a8c74ff36ce" ma:index="10" nillable="true" ma:taxonomy="true" ma:internalName="e999b8edfbce4772b22c3a8c74ff36ce" ma:taxonomyFieldName="Methodology" ma:displayName="Methodology" ma:readOnly="false" ma:default="" ma:fieldId="{e999b8ed-fbce-4772-b22c-3a8c74ff36ce}" ma:taxonomyMulti="true" ma:sspId="7262ee28-f1c0-414c-ad77-c1ea98916dd9" ma:termSetId="bdaf93d5-d711-4073-8d3b-7629a135f3f3" ma:anchorId="84b66496-d990-4445-b5f1-adf2e2ce60f1" ma:open="false" ma:isKeyword="false">
      <xsd:complexType>
        <xsd:sequence>
          <xsd:element ref="pc:Terms" minOccurs="0" maxOccurs="1"/>
        </xsd:sequence>
      </xsd:complexType>
    </xsd:element>
    <xsd:element name="jf0640f97dcd40049d3fc8c3d10ff855" ma:index="13" nillable="true" ma:taxonomy="true" ma:internalName="jf0640f97dcd40049d3fc8c3d10ff855" ma:taxonomyFieldName="Clients" ma:displayName="Clients" ma:readOnly="false" ma:default="" ma:fieldId="{3f0640f9-7dcd-4004-9d3f-c8c3d10ff855}" ma:taxonomyMulti="true" ma:sspId="7262ee28-f1c0-414c-ad77-c1ea98916dd9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6d89d2a22ad4b4885b9858a4f35747a" ma:index="15" nillable="true" ma:taxonomy="true" ma:internalName="i6d89d2a22ad4b4885b9858a4f35747a" ma:taxonomyFieldName="Countries" ma:displayName="Countries" ma:readOnly="false" ma:default="" ma:fieldId="{26d89d2a-22ad-4b48-85b9-858a4f35747a}" ma:taxonomyMulti="true" ma:sspId="7262ee28-f1c0-414c-ad77-c1ea98916dd9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0c14ac2d9c042e3be8883c9fd5ef198" ma:index="17" nillable="true" ma:taxonomy="true" ma:internalName="m0c14ac2d9c042e3be8883c9fd5ef198" ma:taxonomyFieldName="Languages" ma:displayName="Languages" ma:readOnly="false" ma:default="" ma:fieldId="{60c14ac2-d9c0-42e3-be88-83c9fd5ef198}" ma:taxonomyMulti="true" ma:sspId="7262ee28-f1c0-414c-ad77-c1ea98916dd9" ma:termSetId="1e1fffb5-459f-480a-aca8-4e5bef29180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6d935-851e-4683-8fb3-4830ef9470e6" elementFormDefault="qualified">
    <xsd:import namespace="http://schemas.microsoft.com/office/2006/documentManagement/types"/>
    <xsd:import namespace="http://schemas.microsoft.com/office/infopath/2007/PartnerControls"/>
    <xsd:element name="TaxCatchAll" ma:index="3" nillable="true" ma:displayName="Taxonomy Catch All Column" ma:hidden="true" ma:list="{66c50aa7-9ab1-4f06-a013-2ec94beb8993}" ma:internalName="TaxCatchAll" ma:showField="CatchAllData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" nillable="true" ma:displayName="Taxonomy Catch All Column1" ma:hidden="true" ma:list="{66c50aa7-9ab1-4f06-a013-2ec94beb8993}" ma:internalName="TaxCatchAllLabel" ma:readOnly="true" ma:showField="CatchAllDataLabel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Keywords" ma:fieldId="{23f27201-bee3-471e-b2e7-b64fd8b7ca38}" ma:taxonomyMulti="true" ma:sspId="7262ee28-f1c0-414c-ad77-c1ea98916dd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EA7BA8C-1986-4319-B259-C2F4A1E47736}">
  <ds:schemaRefs>
    <ds:schemaRef ds:uri="http://purl.org/dc/dcmitype/"/>
    <ds:schemaRef ds:uri="http://www.w3.org/XML/1998/namespace"/>
    <ds:schemaRef ds:uri="http://schemas.microsoft.com/sharepoint/v3"/>
    <ds:schemaRef ds:uri="http://schemas.openxmlformats.org/package/2006/metadata/core-properties"/>
    <ds:schemaRef ds:uri="fdaf2857-34a0-4271-9efd-53feeda81814"/>
    <ds:schemaRef ds:uri="http://schemas.microsoft.com/office/2006/documentManagement/types"/>
    <ds:schemaRef ds:uri="http://purl.org/dc/elements/1.1/"/>
    <ds:schemaRef ds:uri="http://purl.org/dc/terms/"/>
    <ds:schemaRef ds:uri="http://schemas.microsoft.com/office/2006/metadata/properties"/>
    <ds:schemaRef ds:uri="http://schemas.microsoft.com/office/infopath/2007/PartnerControls"/>
    <ds:schemaRef ds:uri="eaa6d935-851e-4683-8fb3-4830ef9470e6"/>
  </ds:schemaRefs>
</ds:datastoreItem>
</file>

<file path=customXml/itemProps2.xml><?xml version="1.0" encoding="utf-8"?>
<ds:datastoreItem xmlns:ds="http://schemas.openxmlformats.org/officeDocument/2006/customXml" ds:itemID="{2033D0CA-11FA-4122-AD0B-97C80CB92E0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EF2C3C-F15C-44EF-A119-4EBEE44207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daf2857-34a0-4271-9efd-53feeda81814"/>
    <ds:schemaRef ds:uri="eaa6d935-851e-4683-8fb3-4830ef9470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1</Words>
  <Application>Microsoft Office PowerPoint</Application>
  <PresentationFormat>Экран (16:9)</PresentationFormat>
  <Paragraphs>29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8" baseType="lpstr">
      <vt:lpstr>Arial</vt:lpstr>
      <vt:lpstr>Courier New</vt:lpstr>
      <vt:lpstr>Wingdings</vt:lpstr>
      <vt:lpstr>Roboto</vt:lpstr>
      <vt:lpstr>Times New Roman</vt:lpstr>
      <vt:lpstr>1_Info_Sapiens_0.1</vt:lpstr>
      <vt:lpstr>think-cell Folie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subject>Version 1 – 2015</dc:subject>
  <dc:creator/>
  <cp:keywords>PowerPoint; slide gallery</cp:keywords>
  <cp:lastModifiedBy/>
  <cp:revision>1</cp:revision>
  <dcterms:created xsi:type="dcterms:W3CDTF">2015-04-20T09:03:22Z</dcterms:created>
  <dcterms:modified xsi:type="dcterms:W3CDTF">2019-07-18T07:41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97;#Not applicable|457da623-78f9-49de-8564-b1618c49ba59</vt:lpwstr>
  </property>
  <property fmtid="{D5CDD505-2E9C-101B-9397-08002B2CF9AE}" pid="3" name="Countries">
    <vt:lpwstr>69;#Global|3eaca359-c4b3-4b51-a927-e9852da92384</vt:lpwstr>
  </property>
  <property fmtid="{D5CDD505-2E9C-101B-9397-08002B2CF9AE}" pid="4" name="TaxKeyword">
    <vt:lpwstr>1781;#PowerPoint|50a0b034-169b-4062-b9b1-f0dd9c5b2843;#502;#slide gallery|fa6e0ad1-8c10-43e4-af9b-445124adfdc8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D9151DFF91B0A44197B29C020F8C642F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57;#Not applicable|1b0d69d1-6137-41de-9ae5-e5925610d8cb</vt:lpwstr>
  </property>
  <property fmtid="{D5CDD505-2E9C-101B-9397-08002B2CF9AE}" pid="11" name="Methodology">
    <vt:lpwstr/>
  </property>
</Properties>
</file>